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C10FC-A47E-1BD1-6BC3-218C48826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think-cell data - do not delete" hidden="1">
            <a:extLst>
              <a:ext uri="{FF2B5EF4-FFF2-40B4-BE49-F238E27FC236}">
                <a16:creationId xmlns:a16="http://schemas.microsoft.com/office/drawing/2014/main" id="{21FD5985-F8D0-74AC-0B68-2ABB63B709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D5985-F8D0-74AC-0B68-2ABB63B7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A46841-EEAE-1523-E59B-674850EF3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71481-5E32-29F7-145D-6B005EA4A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Heptagon 4">
            <a:extLst>
              <a:ext uri="{FF2B5EF4-FFF2-40B4-BE49-F238E27FC236}">
                <a16:creationId xmlns:a16="http://schemas.microsoft.com/office/drawing/2014/main" id="{E8AFD414-C229-B289-7E09-4A1FDFE9E813}"/>
              </a:ext>
            </a:extLst>
          </p:cNvPr>
          <p:cNvSpPr/>
          <p:nvPr/>
        </p:nvSpPr>
        <p:spPr>
          <a:xfrm rot="5400000">
            <a:off x="1161645" y="2021702"/>
            <a:ext cx="3227508" cy="3104166"/>
          </a:xfrm>
          <a:prstGeom prst="hep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Folded Corner 67">
            <a:extLst>
              <a:ext uri="{FF2B5EF4-FFF2-40B4-BE49-F238E27FC236}">
                <a16:creationId xmlns:a16="http://schemas.microsoft.com/office/drawing/2014/main" id="{30D672C9-2EA6-AC85-49CB-05FA53A9D9C7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7" name="Round Same Side Corner Rectangle 69">
            <a:extLst>
              <a:ext uri="{FF2B5EF4-FFF2-40B4-BE49-F238E27FC236}">
                <a16:creationId xmlns:a16="http://schemas.microsoft.com/office/drawing/2014/main" id="{6CA81FE0-247B-1F99-1945-6B90AC647F61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9C46045-648B-BD38-5185-825FBE8B91C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274D5E-FBF7-F953-0742-F163666C4738}"/>
              </a:ext>
            </a:extLst>
          </p:cNvPr>
          <p:cNvCxnSpPr>
            <a:cxnSpLocks/>
          </p:cNvCxnSpPr>
          <p:nvPr/>
        </p:nvCxnSpPr>
        <p:spPr>
          <a:xfrm flipH="1">
            <a:off x="1844041" y="3787140"/>
            <a:ext cx="441959" cy="1676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008947-09AC-8EED-ECC0-99764069360B}"/>
              </a:ext>
            </a:extLst>
          </p:cNvPr>
          <p:cNvCxnSpPr>
            <a:cxnSpLocks/>
          </p:cNvCxnSpPr>
          <p:nvPr/>
        </p:nvCxnSpPr>
        <p:spPr>
          <a:xfrm flipH="1" flipV="1">
            <a:off x="1821180" y="3070860"/>
            <a:ext cx="480061" cy="2286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B44465-FFE5-9DFF-E4D6-8F19DFC600C4}"/>
              </a:ext>
            </a:extLst>
          </p:cNvPr>
          <p:cNvCxnSpPr>
            <a:cxnSpLocks/>
          </p:cNvCxnSpPr>
          <p:nvPr/>
        </p:nvCxnSpPr>
        <p:spPr>
          <a:xfrm flipH="1" flipV="1">
            <a:off x="2598420" y="2583180"/>
            <a:ext cx="60960" cy="4953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F85E26-0EC5-7F4D-C0C9-FD3520642A32}"/>
              </a:ext>
            </a:extLst>
          </p:cNvPr>
          <p:cNvCxnSpPr>
            <a:cxnSpLocks/>
          </p:cNvCxnSpPr>
          <p:nvPr/>
        </p:nvCxnSpPr>
        <p:spPr>
          <a:xfrm flipV="1">
            <a:off x="3093720" y="2804160"/>
            <a:ext cx="251460" cy="3581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0E7FBD-6266-3117-1812-4FD3EAF5B23B}"/>
              </a:ext>
            </a:extLst>
          </p:cNvPr>
          <p:cNvCxnSpPr>
            <a:cxnSpLocks/>
            <a:stCxn id="53" idx="0"/>
            <a:endCxn id="49" idx="4"/>
          </p:cNvCxnSpPr>
          <p:nvPr/>
        </p:nvCxnSpPr>
        <p:spPr>
          <a:xfrm>
            <a:off x="3308675" y="3573787"/>
            <a:ext cx="365667" cy="1269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2007134-162D-1744-0C42-049A042008E2}"/>
              </a:ext>
            </a:extLst>
          </p:cNvPr>
          <p:cNvCxnSpPr>
            <a:cxnSpLocks/>
          </p:cNvCxnSpPr>
          <p:nvPr/>
        </p:nvCxnSpPr>
        <p:spPr>
          <a:xfrm flipH="1" flipV="1">
            <a:off x="3086100" y="3988536"/>
            <a:ext cx="274321" cy="3134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9BF9B26-5D3A-76A1-734F-15D63EF2BC62}"/>
              </a:ext>
            </a:extLst>
          </p:cNvPr>
          <p:cNvCxnSpPr>
            <a:cxnSpLocks/>
          </p:cNvCxnSpPr>
          <p:nvPr/>
        </p:nvCxnSpPr>
        <p:spPr>
          <a:xfrm flipV="1">
            <a:off x="2522220" y="4085844"/>
            <a:ext cx="114300" cy="469393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9167CA-FB5D-2318-14CE-65E6C6FBCC02}"/>
              </a:ext>
            </a:extLst>
          </p:cNvPr>
          <p:cNvGrpSpPr/>
          <p:nvPr/>
        </p:nvGrpSpPr>
        <p:grpSpPr>
          <a:xfrm>
            <a:off x="3122169" y="1938565"/>
            <a:ext cx="1002681" cy="1002634"/>
            <a:chOff x="876630" y="3815779"/>
            <a:chExt cx="1068006" cy="106795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5C397FA-4F7F-9C43-F511-A3ACAB5A58E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6D7E422-DD08-C179-56A2-CC8DAFEBF036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D8674607-1802-FEE3-E34B-DEF4B68F9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C87834F9-587C-668C-86A1-16EF0E09FD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Freeform 19">
                <a:extLst>
                  <a:ext uri="{FF2B5EF4-FFF2-40B4-BE49-F238E27FC236}">
                    <a16:creationId xmlns:a16="http://schemas.microsoft.com/office/drawing/2014/main" id="{EC86A40E-536F-16AB-95BC-C91525ED57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46347C6-D819-74E4-5B49-01E152151AF8}"/>
              </a:ext>
            </a:extLst>
          </p:cNvPr>
          <p:cNvGrpSpPr/>
          <p:nvPr/>
        </p:nvGrpSpPr>
        <p:grpSpPr>
          <a:xfrm>
            <a:off x="3122169" y="4231761"/>
            <a:ext cx="1002679" cy="1002629"/>
            <a:chOff x="2241396" y="4563294"/>
            <a:chExt cx="1068004" cy="1067951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F2972B7-1D2D-A133-634D-64781097E02E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01E90F-C255-D18F-634F-D4ED0AB471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25" name="Freeform 21">
                <a:extLst>
                  <a:ext uri="{FF2B5EF4-FFF2-40B4-BE49-F238E27FC236}">
                    <a16:creationId xmlns:a16="http://schemas.microsoft.com/office/drawing/2014/main" id="{D846F577-4A0F-D68E-2216-01493CD6F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26" name="Freeform 22">
                <a:extLst>
                  <a:ext uri="{FF2B5EF4-FFF2-40B4-BE49-F238E27FC236}">
                    <a16:creationId xmlns:a16="http://schemas.microsoft.com/office/drawing/2014/main" id="{57130F77-119C-4CB4-4A8A-10B8879E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8DD320-B5D5-5A52-89BA-773D5F03D4BE}"/>
              </a:ext>
            </a:extLst>
          </p:cNvPr>
          <p:cNvGrpSpPr/>
          <p:nvPr/>
        </p:nvGrpSpPr>
        <p:grpSpPr>
          <a:xfrm>
            <a:off x="1881450" y="4514947"/>
            <a:ext cx="1002680" cy="1002634"/>
            <a:chOff x="3618856" y="3815779"/>
            <a:chExt cx="1068005" cy="106795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1034CF1-2DCA-7ADD-326F-0A4A3C361C92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A79F1AA7-3233-4819-96FD-4EE11ABE21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2C0555-FD9A-0A47-FBA8-596EEB260578}"/>
              </a:ext>
            </a:extLst>
          </p:cNvPr>
          <p:cNvGrpSpPr/>
          <p:nvPr/>
        </p:nvGrpSpPr>
        <p:grpSpPr>
          <a:xfrm>
            <a:off x="886470" y="3721477"/>
            <a:ext cx="1002680" cy="1002634"/>
            <a:chOff x="3618856" y="2203534"/>
            <a:chExt cx="1068005" cy="106795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7208959-53E8-1631-8E90-AD959474356B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CC64604-EB6A-610A-7BAA-1A09C825B7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3" name="Freeform 26">
                <a:extLst>
                  <a:ext uri="{FF2B5EF4-FFF2-40B4-BE49-F238E27FC236}">
                    <a16:creationId xmlns:a16="http://schemas.microsoft.com/office/drawing/2014/main" id="{0201E549-F6FB-335B-34F2-63D35E890A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27">
                <a:extLst>
                  <a:ext uri="{FF2B5EF4-FFF2-40B4-BE49-F238E27FC236}">
                    <a16:creationId xmlns:a16="http://schemas.microsoft.com/office/drawing/2014/main" id="{D7806203-F5B7-FA7E-69C5-640430CFC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CA5748FF-4135-F179-E29A-D5FF53D81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43E12517-AF06-3121-8BC6-B1ECA6890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414BFDE9-D1A7-8EB8-4E77-9F32F2031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1">
                <a:extLst>
                  <a:ext uri="{FF2B5EF4-FFF2-40B4-BE49-F238E27FC236}">
                    <a16:creationId xmlns:a16="http://schemas.microsoft.com/office/drawing/2014/main" id="{AECDD8E9-A37D-9531-66D0-25D3AFCF4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E8765D4-466B-67D1-23FE-DC9AA6FFF23C}"/>
              </a:ext>
            </a:extLst>
          </p:cNvPr>
          <p:cNvGrpSpPr/>
          <p:nvPr/>
        </p:nvGrpSpPr>
        <p:grpSpPr>
          <a:xfrm>
            <a:off x="886469" y="2448849"/>
            <a:ext cx="1002680" cy="1002634"/>
            <a:chOff x="2254021" y="1541715"/>
            <a:chExt cx="1068005" cy="106795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A10EB67-6373-E8BF-3AEE-8EF3C1CA2BC5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7C49EC7-F0B1-2CC3-DFE3-A2DBB8A1B9D4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2" name="Freeform 17">
                <a:extLst>
                  <a:ext uri="{FF2B5EF4-FFF2-40B4-BE49-F238E27FC236}">
                    <a16:creationId xmlns:a16="http://schemas.microsoft.com/office/drawing/2014/main" id="{E3EE2325-147E-88F6-0B24-24CD628C97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3" name="Freeform 18">
                <a:extLst>
                  <a:ext uri="{FF2B5EF4-FFF2-40B4-BE49-F238E27FC236}">
                    <a16:creationId xmlns:a16="http://schemas.microsoft.com/office/drawing/2014/main" id="{E933365A-0EBD-589E-E651-D937C9D6F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9">
                <a:extLst>
                  <a:ext uri="{FF2B5EF4-FFF2-40B4-BE49-F238E27FC236}">
                    <a16:creationId xmlns:a16="http://schemas.microsoft.com/office/drawing/2014/main" id="{58DC3B4C-A9A4-2042-E02E-B1E09D35C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9A66B18-126D-CD12-67EB-C921A74D62B9}"/>
              </a:ext>
            </a:extLst>
          </p:cNvPr>
          <p:cNvGrpSpPr/>
          <p:nvPr/>
        </p:nvGrpSpPr>
        <p:grpSpPr>
          <a:xfrm>
            <a:off x="1881450" y="1655379"/>
            <a:ext cx="1002680" cy="1002634"/>
            <a:chOff x="876630" y="2203535"/>
            <a:chExt cx="1068005" cy="1067956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85EDCC5-843C-8B54-6A96-8A3C8F36BDFC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868C9D42-D824-EA81-8721-A217BB3D9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1BC7C37-7CDD-AB04-1B80-15DF279E8AA7}"/>
              </a:ext>
            </a:extLst>
          </p:cNvPr>
          <p:cNvGrpSpPr/>
          <p:nvPr/>
        </p:nvGrpSpPr>
        <p:grpSpPr>
          <a:xfrm>
            <a:off x="3674342" y="3085163"/>
            <a:ext cx="1002679" cy="1002629"/>
            <a:chOff x="2241396" y="4563294"/>
            <a:chExt cx="1068004" cy="1067951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DF8374D-3624-2D58-99D6-3DD902D2DAC3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1BCE6B1-1093-0BB5-4268-5EC8D8794DE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26B397CB-88E5-3E12-435B-6BB7CC911C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6D3CE9C8-8176-4EBB-6E1D-9266758EA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sp>
        <p:nvSpPr>
          <p:cNvPr id="53" name="Oval 52">
            <a:extLst>
              <a:ext uri="{FF2B5EF4-FFF2-40B4-BE49-F238E27FC236}">
                <a16:creationId xmlns:a16="http://schemas.microsoft.com/office/drawing/2014/main" id="{9DB04CB5-5478-60A0-3708-42338B2391C9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387E2A-F38E-9818-A1BD-80AC99217003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CDF109F4-9D5F-CF42-A54F-37BBEEFEC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EFAAEECA-7BED-0E72-F14E-CF9A7F42F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DA152E11-2E7B-8EC7-A819-69D42AB99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30B6EBBF-21E2-E484-F871-F5F96A86E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Freeform 30">
              <a:extLst>
                <a:ext uri="{FF2B5EF4-FFF2-40B4-BE49-F238E27FC236}">
                  <a16:creationId xmlns:a16="http://schemas.microsoft.com/office/drawing/2014/main" id="{A0F9C045-63A8-0367-0DEE-AA48A615F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E28B5E3F-7026-0CDF-06CF-EBB9AD6D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3575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7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17</cp:revision>
  <dcterms:created xsi:type="dcterms:W3CDTF">2021-03-31T02:49:57Z</dcterms:created>
  <dcterms:modified xsi:type="dcterms:W3CDTF">2025-10-15T03:41:34Z</dcterms:modified>
  <cp:category/>
</cp:coreProperties>
</file>